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sldIdLst>
    <p:sldId id="281" r:id="rId5"/>
    <p:sldId id="257" r:id="rId6"/>
    <p:sldId id="258" r:id="rId7"/>
    <p:sldId id="283" r:id="rId8"/>
    <p:sldId id="259" r:id="rId9"/>
    <p:sldId id="284" r:id="rId10"/>
    <p:sldId id="262" r:id="rId11"/>
    <p:sldId id="268" r:id="rId12"/>
    <p:sldId id="282" r:id="rId13"/>
    <p:sldId id="285" r:id="rId14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57" autoAdjust="0"/>
    <p:restoredTop sz="94660"/>
  </p:normalViewPr>
  <p:slideViewPr>
    <p:cSldViewPr>
      <p:cViewPr varScale="1">
        <p:scale>
          <a:sx n="108" d="100"/>
          <a:sy n="108" d="100"/>
        </p:scale>
        <p:origin x="1800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0EBD2A-8DE1-41A2-A932-53471C98DF78}" type="datetimeFigureOut">
              <a:rPr lang="en-US" smtClean="0"/>
              <a:pPr/>
              <a:t>5/3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7050" cy="4183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DC055A-0F29-4BFC-8AB5-33E7FC610B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98174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13E61B-A088-46AC-BAAC-041BE823730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809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Rev. A 02/27/201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1D1109-3E24-4EB2-B983-3313F49F602A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720975"/>
            <a:ext cx="7772400" cy="1470025"/>
          </a:xfrm>
        </p:spPr>
        <p:txBody>
          <a:bodyPr>
            <a:normAutofit/>
          </a:bodyPr>
          <a:lstStyle/>
          <a:p>
            <a:pPr algn="l"/>
            <a:r>
              <a:rPr lang="en-US" sz="3200" dirty="0"/>
              <a:t>Web Training – Contested Delivery Data</a:t>
            </a:r>
            <a:br>
              <a:rPr lang="en-US" sz="3200" dirty="0"/>
            </a:br>
            <a:r>
              <a:rPr lang="en-US" sz="2400" dirty="0"/>
              <a:t>Scope: Instructions for Submitting Contested Delivery Data</a:t>
            </a:r>
            <a:endParaRPr lang="en-US" sz="3200" dirty="0"/>
          </a:p>
        </p:txBody>
      </p:sp>
      <p:pic>
        <p:nvPicPr>
          <p:cNvPr id="4" name="Picture 11" descr="TG_2C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5874" y="652689"/>
            <a:ext cx="2160588" cy="67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65113" y="2036763"/>
            <a:ext cx="861377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301625" y="5030788"/>
            <a:ext cx="861377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Rev. B 05/1/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0898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0" y="0"/>
            <a:ext cx="3194721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400" dirty="0"/>
              <a:t>Contested Delivery Data</a:t>
            </a:r>
          </a:p>
        </p:txBody>
      </p:sp>
      <p:cxnSp>
        <p:nvCxnSpPr>
          <p:cNvPr id="10" name="Straight Arrow Connector 9"/>
          <p:cNvCxnSpPr/>
          <p:nvPr/>
        </p:nvCxnSpPr>
        <p:spPr>
          <a:xfrm>
            <a:off x="2971800" y="2362200"/>
            <a:ext cx="762000" cy="175260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2438400" y="2209800"/>
            <a:ext cx="609600" cy="289560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4" name="Group 23"/>
          <p:cNvGrpSpPr/>
          <p:nvPr/>
        </p:nvGrpSpPr>
        <p:grpSpPr>
          <a:xfrm>
            <a:off x="533400" y="1066800"/>
            <a:ext cx="7620000" cy="4953000"/>
            <a:chOff x="533400" y="1066800"/>
            <a:chExt cx="7620000" cy="4953000"/>
          </a:xfrm>
        </p:grpSpPr>
        <p:pic>
          <p:nvPicPr>
            <p:cNvPr id="17" name="Picture 16"/>
            <p:cNvPicPr>
              <a:picLocks noChangeAspect="1" noChangeArrowheads="1"/>
            </p:cNvPicPr>
            <p:nvPr/>
          </p:nvPicPr>
          <p:blipFill>
            <a:blip r:embed="rId2" cstate="print"/>
            <a:srcRect l="70375" t="29907" r="3906" b="23148"/>
            <a:stretch>
              <a:fillRect/>
            </a:stretch>
          </p:blipFill>
          <p:spPr bwMode="auto">
            <a:xfrm>
              <a:off x="533400" y="1066800"/>
              <a:ext cx="7620000" cy="4953000"/>
            </a:xfrm>
            <a:prstGeom prst="rect">
              <a:avLst/>
            </a:prstGeom>
            <a:noFill/>
            <a:ln w="1">
              <a:noFill/>
              <a:miter lim="800000"/>
              <a:headEnd/>
              <a:tailEnd type="none" w="med" len="med"/>
            </a:ln>
            <a:effectLst/>
          </p:spPr>
        </p:pic>
        <p:sp>
          <p:nvSpPr>
            <p:cNvPr id="22" name="TextBox 21"/>
            <p:cNvSpPr txBox="1"/>
            <p:nvPr/>
          </p:nvSpPr>
          <p:spPr>
            <a:xfrm>
              <a:off x="1295400" y="5410200"/>
              <a:ext cx="1524000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latin typeface="Arial" pitchFamily="34" charset="0"/>
                  <a:cs typeface="Arial" pitchFamily="34" charset="0"/>
                </a:rPr>
                <a:t>No action required</a:t>
              </a:r>
            </a:p>
          </p:txBody>
        </p:sp>
      </p:grpSp>
      <p:sp>
        <p:nvSpPr>
          <p:cNvPr id="8" name="Oval 7"/>
          <p:cNvSpPr/>
          <p:nvPr/>
        </p:nvSpPr>
        <p:spPr>
          <a:xfrm>
            <a:off x="762000" y="5105400"/>
            <a:ext cx="2057400" cy="762000"/>
          </a:xfrm>
          <a:prstGeom prst="ellipse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838200" y="649069"/>
            <a:ext cx="7010400" cy="92333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Once Contested data has been processed, it is removed from your Home page.  A separate e-mail will be sent describing disposition of contested data by TGI procurement.</a:t>
            </a:r>
          </a:p>
        </p:txBody>
      </p:sp>
      <p:sp>
        <p:nvSpPr>
          <p:cNvPr id="15" name="Date Placeholder 2">
            <a:extLst>
              <a:ext uri="{FF2B5EF4-FFF2-40B4-BE49-F238E27FC236}">
                <a16:creationId xmlns:a16="http://schemas.microsoft.com/office/drawing/2014/main" id="{BB48E011-38CF-4742-BCB7-D269DCF1D2E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r>
              <a:rPr lang="en-US" dirty="0"/>
              <a:t>Rev. B 05/1/2022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5501E7C-0E7E-4A10-8C2B-9E069A0B59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032" t="14757" r="1738" b="20790"/>
          <a:stretch/>
        </p:blipFill>
        <p:spPr>
          <a:xfrm>
            <a:off x="21771" y="457200"/>
            <a:ext cx="8839200" cy="527238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209800" y="4572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0" y="0"/>
            <a:ext cx="3197735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400" dirty="0"/>
              <a:t>Contested Delivery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3276600" y="3200400"/>
            <a:ext cx="3581400" cy="92333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Supplier can Contest Delivery  Data by selecting the Delivery Snapshot Report.</a:t>
            </a:r>
          </a:p>
        </p:txBody>
      </p:sp>
      <p:cxnSp>
        <p:nvCxnSpPr>
          <p:cNvPr id="11" name="Straight Arrow Connector 10"/>
          <p:cNvCxnSpPr/>
          <p:nvPr/>
        </p:nvCxnSpPr>
        <p:spPr>
          <a:xfrm flipH="1">
            <a:off x="2286000" y="2362200"/>
            <a:ext cx="609600" cy="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B61C5723-EEBA-40C5-9645-552E710B4FCF}"/>
              </a:ext>
            </a:extLst>
          </p:cNvPr>
          <p:cNvCxnSpPr/>
          <p:nvPr/>
        </p:nvCxnSpPr>
        <p:spPr>
          <a:xfrm flipV="1">
            <a:off x="5638800" y="2286000"/>
            <a:ext cx="304800" cy="8073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2">
            <a:extLst>
              <a:ext uri="{FF2B5EF4-FFF2-40B4-BE49-F238E27FC236}">
                <a16:creationId xmlns:a16="http://schemas.microsoft.com/office/drawing/2014/main" id="{934B0565-CF85-4495-B5EB-A79897B75B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r>
              <a:rPr lang="en-US" dirty="0"/>
              <a:t>Rev. B 05/1/2022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619F6371-1B6F-4855-AA6D-00001FA307F0}"/>
              </a:ext>
            </a:extLst>
          </p:cNvPr>
          <p:cNvGrpSpPr/>
          <p:nvPr/>
        </p:nvGrpSpPr>
        <p:grpSpPr>
          <a:xfrm>
            <a:off x="777240" y="230832"/>
            <a:ext cx="7589520" cy="5486400"/>
            <a:chOff x="777240" y="201057"/>
            <a:chExt cx="7589520" cy="5486400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861E50B-1D36-4DA3-9495-AF2D6AC1269F}"/>
                </a:ext>
              </a:extLst>
            </p:cNvPr>
            <p:cNvGrpSpPr/>
            <p:nvPr/>
          </p:nvGrpSpPr>
          <p:grpSpPr>
            <a:xfrm>
              <a:off x="777240" y="201057"/>
              <a:ext cx="7589520" cy="5486400"/>
              <a:chOff x="0" y="0"/>
              <a:chExt cx="7589520" cy="5047585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0ACCE10B-2B86-4CD1-A9C0-103F49731F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 cstate="print"/>
              <a:srcRect l="60000" t="21747" r="2649" b="4181"/>
              <a:stretch/>
            </p:blipFill>
            <p:spPr bwMode="auto">
              <a:xfrm>
                <a:off x="0" y="0"/>
                <a:ext cx="7589520" cy="5047585"/>
              </a:xfrm>
              <a:prstGeom prst="rect">
                <a:avLst/>
              </a:prstGeom>
              <a:noFill/>
              <a:ln w="1">
                <a:noFill/>
                <a:miter lim="800000"/>
                <a:headEnd/>
                <a:tailEnd type="none" w="med" len="med"/>
              </a:ln>
              <a:effectLst/>
            </p:spPr>
          </p:pic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CD76420D-4A3E-42A2-A6C6-C5C649B6FC95}"/>
                  </a:ext>
                </a:extLst>
              </p:cNvPr>
              <p:cNvSpPr/>
              <p:nvPr/>
            </p:nvSpPr>
            <p:spPr>
              <a:xfrm>
                <a:off x="4131310" y="595089"/>
                <a:ext cx="1524000" cy="2286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</p:grp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155916B-0F7D-4A17-9661-C10782C216AF}"/>
                </a:ext>
              </a:extLst>
            </p:cNvPr>
            <p:cNvSpPr/>
            <p:nvPr/>
          </p:nvSpPr>
          <p:spPr>
            <a:xfrm>
              <a:off x="3124200" y="2754789"/>
              <a:ext cx="1219200" cy="16564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cxnSp>
        <p:nvCxnSpPr>
          <p:cNvPr id="7" name="Straight Arrow Connector 6"/>
          <p:cNvCxnSpPr/>
          <p:nvPr/>
        </p:nvCxnSpPr>
        <p:spPr>
          <a:xfrm>
            <a:off x="7086600" y="3886200"/>
            <a:ext cx="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0" y="0"/>
            <a:ext cx="3197735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400" dirty="0"/>
              <a:t>Contested Delivery Data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290456" y="1905000"/>
            <a:ext cx="2862944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elect Triumph Company</a:t>
            </a:r>
          </a:p>
        </p:txBody>
      </p:sp>
      <p:cxnSp>
        <p:nvCxnSpPr>
          <p:cNvPr id="10" name="Straight Arrow Connector 9"/>
          <p:cNvCxnSpPr/>
          <p:nvPr/>
        </p:nvCxnSpPr>
        <p:spPr>
          <a:xfrm flipH="1">
            <a:off x="4680857" y="2089666"/>
            <a:ext cx="609600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2">
            <a:extLst>
              <a:ext uri="{FF2B5EF4-FFF2-40B4-BE49-F238E27FC236}">
                <a16:creationId xmlns:a16="http://schemas.microsoft.com/office/drawing/2014/main" id="{433906DE-ED60-43D0-9347-2D2B890FE0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r>
              <a:rPr lang="en-US" dirty="0"/>
              <a:t>Rev. B 05/1/2022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0" y="0"/>
            <a:ext cx="3197735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400" dirty="0"/>
              <a:t>Contested Delivery Data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533400" y="685800"/>
            <a:ext cx="7924800" cy="5226050"/>
            <a:chOff x="609600" y="838200"/>
            <a:chExt cx="7924800" cy="4997450"/>
          </a:xfrm>
        </p:grpSpPr>
        <p:pic>
          <p:nvPicPr>
            <p:cNvPr id="8" name="Picture 7"/>
            <p:cNvPicPr>
              <a:picLocks noChangeAspect="1" noChangeArrowheads="1"/>
            </p:cNvPicPr>
            <p:nvPr/>
          </p:nvPicPr>
          <p:blipFill>
            <a:blip r:embed="rId2" cstate="print"/>
            <a:srcRect l="68812" t="14167" r="2844" b="12963"/>
            <a:stretch>
              <a:fillRect/>
            </a:stretch>
          </p:blipFill>
          <p:spPr bwMode="auto">
            <a:xfrm>
              <a:off x="609600" y="838200"/>
              <a:ext cx="7924800" cy="4997450"/>
            </a:xfrm>
            <a:prstGeom prst="rect">
              <a:avLst/>
            </a:prstGeom>
            <a:noFill/>
            <a:ln w="1">
              <a:noFill/>
              <a:miter lim="800000"/>
              <a:headEnd/>
              <a:tailEnd type="none" w="med" len="med"/>
            </a:ln>
            <a:effectLst/>
          </p:spPr>
        </p:pic>
        <p:sp>
          <p:nvSpPr>
            <p:cNvPr id="9" name="Rectangle 8"/>
            <p:cNvSpPr/>
            <p:nvPr/>
          </p:nvSpPr>
          <p:spPr>
            <a:xfrm>
              <a:off x="1371600" y="2667000"/>
              <a:ext cx="1600200" cy="2286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3810000" y="838200"/>
              <a:ext cx="2133600" cy="2286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5105400" y="5257800"/>
            <a:ext cx="3581400" cy="64633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n select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/>
              <a:t>the month in which the non conformance occurred.</a:t>
            </a:r>
          </a:p>
        </p:txBody>
      </p:sp>
      <p:sp>
        <p:nvSpPr>
          <p:cNvPr id="7" name="Oval 6"/>
          <p:cNvSpPr/>
          <p:nvPr/>
        </p:nvSpPr>
        <p:spPr>
          <a:xfrm>
            <a:off x="6629400" y="4648200"/>
            <a:ext cx="762000" cy="3810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2">
            <a:extLst>
              <a:ext uri="{FF2B5EF4-FFF2-40B4-BE49-F238E27FC236}">
                <a16:creationId xmlns:a16="http://schemas.microsoft.com/office/drawing/2014/main" id="{A5FC5F31-6B98-46AD-A5F2-756E3D0C28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r>
              <a:rPr lang="en-US" dirty="0"/>
              <a:t>Rev. B 05/1/2022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0"/>
            <a:ext cx="3197735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400" dirty="0"/>
              <a:t>Contested Delivery Data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533400" y="685800"/>
            <a:ext cx="8115300" cy="5334000"/>
            <a:chOff x="533400" y="762000"/>
            <a:chExt cx="8115300" cy="5334000"/>
          </a:xfrm>
        </p:grpSpPr>
        <p:pic>
          <p:nvPicPr>
            <p:cNvPr id="8" name="Picture 7"/>
            <p:cNvPicPr>
              <a:picLocks noChangeAspect="1" noChangeArrowheads="1"/>
            </p:cNvPicPr>
            <p:nvPr/>
          </p:nvPicPr>
          <p:blipFill>
            <a:blip r:embed="rId2" cstate="print"/>
            <a:srcRect l="60062" t="12315" b="30370"/>
            <a:stretch>
              <a:fillRect/>
            </a:stretch>
          </p:blipFill>
          <p:spPr bwMode="auto">
            <a:xfrm>
              <a:off x="533400" y="762000"/>
              <a:ext cx="8115300" cy="5334000"/>
            </a:xfrm>
            <a:prstGeom prst="rect">
              <a:avLst/>
            </a:prstGeom>
            <a:noFill/>
            <a:ln w="1">
              <a:noFill/>
              <a:miter lim="800000"/>
              <a:headEnd/>
              <a:tailEnd type="none" w="med" len="med"/>
            </a:ln>
            <a:effectLst/>
          </p:spPr>
        </p:pic>
        <p:sp>
          <p:nvSpPr>
            <p:cNvPr id="18" name="Rectangle 17"/>
            <p:cNvSpPr/>
            <p:nvPr/>
          </p:nvSpPr>
          <p:spPr>
            <a:xfrm>
              <a:off x="3505200" y="762000"/>
              <a:ext cx="2209800" cy="2286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17" name="Straight Arrow Connector 16"/>
          <p:cNvCxnSpPr/>
          <p:nvPr/>
        </p:nvCxnSpPr>
        <p:spPr>
          <a:xfrm flipV="1">
            <a:off x="685800" y="5181600"/>
            <a:ext cx="0" cy="38100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533400" y="5638800"/>
            <a:ext cx="2209800" cy="64633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elect the part number</a:t>
            </a:r>
            <a:r>
              <a:rPr lang="en-US" dirty="0">
                <a:solidFill>
                  <a:srgbClr val="FF0000"/>
                </a:solidFill>
              </a:rPr>
              <a:t>.</a:t>
            </a:r>
            <a:r>
              <a:rPr lang="en-US" dirty="0"/>
              <a:t> Go to Slide 7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886200" y="5638800"/>
            <a:ext cx="4572000" cy="64633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r>
              <a:rPr lang="en-US" b="1" dirty="0"/>
              <a:t>Note: You may only contest data uploaded within the past 60 days.  Example on slide 6</a:t>
            </a:r>
          </a:p>
        </p:txBody>
      </p:sp>
      <p:cxnSp>
        <p:nvCxnSpPr>
          <p:cNvPr id="15" name="Straight Arrow Connector 14"/>
          <p:cNvCxnSpPr/>
          <p:nvPr/>
        </p:nvCxnSpPr>
        <p:spPr>
          <a:xfrm flipV="1">
            <a:off x="5867400" y="4495800"/>
            <a:ext cx="838200" cy="106680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2">
            <a:extLst>
              <a:ext uri="{FF2B5EF4-FFF2-40B4-BE49-F238E27FC236}">
                <a16:creationId xmlns:a16="http://schemas.microsoft.com/office/drawing/2014/main" id="{BE8BD9E7-3E44-4FC8-9E22-8D90F5F873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r>
              <a:rPr lang="en-US" dirty="0"/>
              <a:t>Rev. B 05/1/2022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600200" y="4191000"/>
            <a:ext cx="6579302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When Selecting data past the 60 days you will received this message.</a:t>
            </a:r>
          </a:p>
        </p:txBody>
      </p:sp>
      <p:sp>
        <p:nvSpPr>
          <p:cNvPr id="9" name="Oval 8"/>
          <p:cNvSpPr/>
          <p:nvPr/>
        </p:nvSpPr>
        <p:spPr>
          <a:xfrm>
            <a:off x="3048000" y="3352800"/>
            <a:ext cx="3124200" cy="5334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0"/>
            <a:ext cx="3197735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400" dirty="0"/>
              <a:t>Contested Delivery Data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504825" y="838200"/>
            <a:ext cx="8134350" cy="5029199"/>
            <a:chOff x="504825" y="838200"/>
            <a:chExt cx="8134350" cy="5029199"/>
          </a:xfrm>
        </p:grpSpPr>
        <p:pic>
          <p:nvPicPr>
            <p:cNvPr id="6" name="Picture 5"/>
            <p:cNvPicPr>
              <a:picLocks noChangeAspect="1" noChangeArrowheads="1"/>
            </p:cNvPicPr>
            <p:nvPr/>
          </p:nvPicPr>
          <p:blipFill>
            <a:blip r:embed="rId2" cstate="print"/>
            <a:srcRect l="59968" t="11296" b="43426"/>
            <a:stretch>
              <a:fillRect/>
            </a:stretch>
          </p:blipFill>
          <p:spPr bwMode="auto">
            <a:xfrm>
              <a:off x="504825" y="838200"/>
              <a:ext cx="8134350" cy="5029199"/>
            </a:xfrm>
            <a:prstGeom prst="rect">
              <a:avLst/>
            </a:prstGeom>
            <a:noFill/>
            <a:ln w="1">
              <a:noFill/>
              <a:miter lim="800000"/>
              <a:headEnd/>
              <a:tailEnd type="none" w="med" len="med"/>
            </a:ln>
            <a:effectLst/>
          </p:spPr>
        </p:pic>
        <p:sp>
          <p:nvSpPr>
            <p:cNvPr id="11" name="Rectangle 10"/>
            <p:cNvSpPr/>
            <p:nvPr/>
          </p:nvSpPr>
          <p:spPr>
            <a:xfrm>
              <a:off x="3505200" y="990600"/>
              <a:ext cx="2209800" cy="2286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3" name="Date Placeholder 2">
            <a:extLst>
              <a:ext uri="{FF2B5EF4-FFF2-40B4-BE49-F238E27FC236}">
                <a16:creationId xmlns:a16="http://schemas.microsoft.com/office/drawing/2014/main" id="{0C67324E-E467-4EE4-9B19-39E9CE97922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r>
              <a:rPr lang="en-US" dirty="0"/>
              <a:t>Rev. B 05/1/2022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0" y="0"/>
            <a:ext cx="3194721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400" dirty="0"/>
              <a:t>Contested Delivery Data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609600" y="1136650"/>
            <a:ext cx="8089900" cy="4654550"/>
            <a:chOff x="685800" y="1143000"/>
            <a:chExt cx="8089900" cy="4654550"/>
          </a:xfrm>
        </p:grpSpPr>
        <p:pic>
          <p:nvPicPr>
            <p:cNvPr id="9" name="Picture 8"/>
            <p:cNvPicPr>
              <a:picLocks noChangeAspect="1" noChangeArrowheads="1"/>
            </p:cNvPicPr>
            <p:nvPr/>
          </p:nvPicPr>
          <p:blipFill>
            <a:blip r:embed="rId2" cstate="print"/>
            <a:srcRect l="60187" t="12407" b="19722"/>
            <a:stretch>
              <a:fillRect/>
            </a:stretch>
          </p:blipFill>
          <p:spPr bwMode="auto">
            <a:xfrm>
              <a:off x="685800" y="1143000"/>
              <a:ext cx="8089900" cy="4654550"/>
            </a:xfrm>
            <a:prstGeom prst="rect">
              <a:avLst/>
            </a:prstGeom>
            <a:noFill/>
            <a:ln w="1">
              <a:noFill/>
              <a:miter lim="800000"/>
              <a:headEnd/>
              <a:tailEnd type="none" w="med" len="med"/>
            </a:ln>
            <a:effectLst/>
          </p:spPr>
        </p:pic>
        <p:sp>
          <p:nvSpPr>
            <p:cNvPr id="12" name="Rectangle 11"/>
            <p:cNvSpPr/>
            <p:nvPr/>
          </p:nvSpPr>
          <p:spPr>
            <a:xfrm>
              <a:off x="3657600" y="1143000"/>
              <a:ext cx="2209800" cy="1524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2133600" y="5638800"/>
            <a:ext cx="3733800" cy="92333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Complete form and attach document(s), if applicable, and Submit</a:t>
            </a:r>
          </a:p>
        </p:txBody>
      </p:sp>
      <p:cxnSp>
        <p:nvCxnSpPr>
          <p:cNvPr id="13" name="Straight Arrow Connector 12"/>
          <p:cNvCxnSpPr/>
          <p:nvPr/>
        </p:nvCxnSpPr>
        <p:spPr>
          <a:xfrm flipV="1">
            <a:off x="4343400" y="4876800"/>
            <a:ext cx="0" cy="76200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H="1" flipV="1">
            <a:off x="1143000" y="5257800"/>
            <a:ext cx="990600" cy="45720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Date Placeholder 2">
            <a:extLst>
              <a:ext uri="{FF2B5EF4-FFF2-40B4-BE49-F238E27FC236}">
                <a16:creationId xmlns:a16="http://schemas.microsoft.com/office/drawing/2014/main" id="{63BF688F-0055-4002-AB6C-6FA94D6BA4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r>
              <a:rPr lang="en-US" dirty="0"/>
              <a:t>Rev. B 05/1/2022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3194721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400" dirty="0"/>
              <a:t>Contested Delivery Data</a:t>
            </a:r>
          </a:p>
        </p:txBody>
      </p:sp>
      <p:pic>
        <p:nvPicPr>
          <p:cNvPr id="20" name="Picture 19"/>
          <p:cNvPicPr>
            <a:picLocks noChangeAspect="1" noChangeArrowheads="1"/>
          </p:cNvPicPr>
          <p:nvPr/>
        </p:nvPicPr>
        <p:blipFill>
          <a:blip r:embed="rId2" cstate="print"/>
          <a:srcRect l="60063" t="12222" r="281" b="33519"/>
          <a:stretch>
            <a:fillRect/>
          </a:stretch>
        </p:blipFill>
        <p:spPr bwMode="auto">
          <a:xfrm>
            <a:off x="542925" y="609600"/>
            <a:ext cx="8058150" cy="5257800"/>
          </a:xfrm>
          <a:prstGeom prst="rect">
            <a:avLst/>
          </a:prstGeom>
          <a:noFill/>
          <a:ln w="1">
            <a:noFill/>
            <a:miter lim="800000"/>
            <a:headEnd/>
            <a:tailEnd type="none" w="med" len="med"/>
          </a:ln>
          <a:effectLst/>
        </p:spPr>
      </p:pic>
      <p:sp>
        <p:nvSpPr>
          <p:cNvPr id="18" name="TextBox 17"/>
          <p:cNvSpPr txBox="1"/>
          <p:nvPr/>
        </p:nvSpPr>
        <p:spPr>
          <a:xfrm>
            <a:off x="3505200" y="533400"/>
            <a:ext cx="4038600" cy="64633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latin typeface="Arial" pitchFamily="34" charset="0"/>
                <a:cs typeface="Arial" pitchFamily="34" charset="0"/>
              </a:rPr>
              <a:t>Your submission has been sent to Triumph Administrators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1EDE2870-3991-45BF-B505-604B8C16B4E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r>
              <a:rPr lang="en-US" dirty="0"/>
              <a:t>Rev. B 05/1/2022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0" y="0"/>
            <a:ext cx="3194721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400" dirty="0"/>
              <a:t>Contested Delivery Data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52400" y="4876800"/>
            <a:ext cx="2362200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lick on the Hyperlink</a:t>
            </a:r>
          </a:p>
        </p:txBody>
      </p:sp>
      <p:cxnSp>
        <p:nvCxnSpPr>
          <p:cNvPr id="10" name="Straight Arrow Connector 9"/>
          <p:cNvCxnSpPr/>
          <p:nvPr/>
        </p:nvCxnSpPr>
        <p:spPr>
          <a:xfrm>
            <a:off x="2971800" y="2362200"/>
            <a:ext cx="762000" cy="175260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 noChangeArrowheads="1"/>
          </p:cNvPicPr>
          <p:nvPr/>
        </p:nvPicPr>
        <p:blipFill>
          <a:blip r:embed="rId2" cstate="print"/>
          <a:srcRect l="70375" t="29907" r="3906" b="23148"/>
          <a:stretch>
            <a:fillRect/>
          </a:stretch>
        </p:blipFill>
        <p:spPr bwMode="auto">
          <a:xfrm>
            <a:off x="0" y="914400"/>
            <a:ext cx="5226050" cy="3219450"/>
          </a:xfrm>
          <a:prstGeom prst="rect">
            <a:avLst/>
          </a:prstGeom>
          <a:noFill/>
          <a:ln w="1">
            <a:noFill/>
            <a:miter lim="800000"/>
            <a:headEnd/>
            <a:tailEnd type="none" w="med" len="med"/>
          </a:ln>
          <a:effectLst/>
        </p:spPr>
      </p:pic>
      <p:sp>
        <p:nvSpPr>
          <p:cNvPr id="8" name="Oval 7"/>
          <p:cNvSpPr/>
          <p:nvPr/>
        </p:nvSpPr>
        <p:spPr>
          <a:xfrm>
            <a:off x="0" y="3581400"/>
            <a:ext cx="2057400" cy="762000"/>
          </a:xfrm>
          <a:prstGeom prst="ellipse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3124200" y="1931268"/>
            <a:ext cx="5486400" cy="147732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Notification of Contested Data will be shown on your Home Screen.    </a:t>
            </a:r>
          </a:p>
          <a:p>
            <a:r>
              <a:rPr lang="en-US" dirty="0"/>
              <a:t>Appropriate Triumph personnel will also see Contested Data notification on their Home Screen.</a:t>
            </a:r>
          </a:p>
          <a:p>
            <a:endParaRPr lang="en-US" dirty="0"/>
          </a:p>
        </p:txBody>
      </p:sp>
      <p:grpSp>
        <p:nvGrpSpPr>
          <p:cNvPr id="21" name="Group 20"/>
          <p:cNvGrpSpPr/>
          <p:nvPr/>
        </p:nvGrpSpPr>
        <p:grpSpPr>
          <a:xfrm>
            <a:off x="3200400" y="3505200"/>
            <a:ext cx="5715000" cy="2819400"/>
            <a:chOff x="3200400" y="3505200"/>
            <a:chExt cx="5715000" cy="2819400"/>
          </a:xfrm>
        </p:grpSpPr>
        <p:pic>
          <p:nvPicPr>
            <p:cNvPr id="15" name="Picture 14"/>
            <p:cNvPicPr>
              <a:picLocks noChangeAspect="1" noChangeArrowheads="1"/>
            </p:cNvPicPr>
            <p:nvPr/>
          </p:nvPicPr>
          <p:blipFill>
            <a:blip r:embed="rId3" cstate="print"/>
            <a:srcRect l="70807" t="30222" r="4623" b="35648"/>
            <a:stretch>
              <a:fillRect/>
            </a:stretch>
          </p:blipFill>
          <p:spPr bwMode="auto">
            <a:xfrm>
              <a:off x="3200400" y="3505200"/>
              <a:ext cx="5715000" cy="2819400"/>
            </a:xfrm>
            <a:prstGeom prst="rect">
              <a:avLst/>
            </a:prstGeom>
            <a:noFill/>
            <a:ln w="1">
              <a:noFill/>
              <a:miter lim="800000"/>
              <a:headEnd/>
              <a:tailEnd type="none" w="med" len="med"/>
            </a:ln>
            <a:effectLst/>
          </p:spPr>
        </p:pic>
        <p:sp>
          <p:nvSpPr>
            <p:cNvPr id="19" name="TextBox 18"/>
            <p:cNvSpPr txBox="1"/>
            <p:nvPr/>
          </p:nvSpPr>
          <p:spPr>
            <a:xfrm>
              <a:off x="3657600" y="4800600"/>
              <a:ext cx="2273379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Arial" pitchFamily="34" charset="0"/>
                  <a:cs typeface="Arial" pitchFamily="34" charset="0"/>
                </a:rPr>
                <a:t>1 open contested Delivery data issue</a:t>
              </a:r>
            </a:p>
          </p:txBody>
        </p:sp>
      </p:grpSp>
      <p:sp>
        <p:nvSpPr>
          <p:cNvPr id="11" name="Oval 10"/>
          <p:cNvSpPr/>
          <p:nvPr/>
        </p:nvSpPr>
        <p:spPr>
          <a:xfrm>
            <a:off x="3657600" y="4495800"/>
            <a:ext cx="2286000" cy="762000"/>
          </a:xfrm>
          <a:prstGeom prst="ellipse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Arrow Connector 13"/>
          <p:cNvCxnSpPr>
            <a:endCxn id="11" idx="1"/>
          </p:cNvCxnSpPr>
          <p:nvPr/>
        </p:nvCxnSpPr>
        <p:spPr>
          <a:xfrm flipH="1">
            <a:off x="3992377" y="3408596"/>
            <a:ext cx="23112" cy="1198796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1143000" y="3886200"/>
            <a:ext cx="0" cy="91440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endCxn id="8" idx="7"/>
          </p:cNvCxnSpPr>
          <p:nvPr/>
        </p:nvCxnSpPr>
        <p:spPr>
          <a:xfrm flipH="1">
            <a:off x="1756101" y="3124200"/>
            <a:ext cx="1368099" cy="568792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E72F547B8539F4FB013F5CE3D0F4EAB" ma:contentTypeVersion="0" ma:contentTypeDescription="Create a new document." ma:contentTypeScope="" ma:versionID="c95fdb918ae7e398dce7885d8c92835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432F33C-D582-475E-BE03-81D140A40B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76EF3A27-C613-46D4-A08C-32F336326C02}">
  <ds:schemaRefs>
    <ds:schemaRef ds:uri="http://purl.org/dc/dcmitype/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purl.org/dc/terms/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630D753C-E9E2-447E-BD10-6AB620B15CB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567</TotalTime>
  <Words>241</Words>
  <Application>Microsoft Office PowerPoint</Application>
  <PresentationFormat>On-screen Show (4:3)</PresentationFormat>
  <Paragraphs>45</Paragraphs>
  <Slides>10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3" baseType="lpstr">
      <vt:lpstr>Arial</vt:lpstr>
      <vt:lpstr>Calibri</vt:lpstr>
      <vt:lpstr>Office Theme</vt:lpstr>
      <vt:lpstr>Web Training – Contested Delivery Data Scope: Instructions for Submitting Contested Delivery Dat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ewillford</dc:creator>
  <cp:lastModifiedBy>Wilson, Matthew E.</cp:lastModifiedBy>
  <cp:revision>297</cp:revision>
  <dcterms:created xsi:type="dcterms:W3CDTF">2014-01-17T17:48:19Z</dcterms:created>
  <dcterms:modified xsi:type="dcterms:W3CDTF">2022-05-03T15:0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E72F547B8539F4FB013F5CE3D0F4EAB</vt:lpwstr>
  </property>
</Properties>
</file>